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5"/>
  </p:notesMasterIdLst>
  <p:handoutMasterIdLst>
    <p:handoutMasterId r:id="rId2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42" r:id="rId13"/>
    <p:sldId id="433" r:id="rId14"/>
    <p:sldId id="434" r:id="rId15"/>
    <p:sldId id="435" r:id="rId16"/>
    <p:sldId id="438" r:id="rId17"/>
    <p:sldId id="436" r:id="rId18"/>
    <p:sldId id="437" r:id="rId19"/>
    <p:sldId id="453" r:id="rId20"/>
    <p:sldId id="445" r:id="rId21"/>
    <p:sldId id="446" r:id="rId22"/>
    <p:sldId id="447" r:id="rId23"/>
    <p:sldId id="429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82" d="100"/>
          <a:sy n="82" d="100"/>
        </p:scale>
        <p:origin x="739" y="7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154BA7BF-16A1-4A3D-B2A2-79E738F8D0CC}">
      <dgm:prSet phldrT="[Text]"/>
      <dgm:spPr/>
      <dgm:t>
        <a:bodyPr/>
        <a:lstStyle/>
        <a:p>
          <a:r>
            <a:rPr lang="de-DE" dirty="0"/>
            <a:t>NLP</a:t>
          </a:r>
        </a:p>
      </dgm:t>
    </dgm:pt>
    <dgm:pt modelId="{A5BA7F60-0DCC-4405-B030-281CE2440072}" type="parTrans" cxnId="{1A391A8B-311A-4BD3-803C-61AA0D232339}">
      <dgm:prSet/>
      <dgm:spPr/>
      <dgm:t>
        <a:bodyPr/>
        <a:lstStyle/>
        <a:p>
          <a:endParaRPr lang="de-DE"/>
        </a:p>
      </dgm:t>
    </dgm:pt>
    <dgm:pt modelId="{E38B4AE9-F51E-4ECC-BD61-8BFCD140AFC7}" type="sibTrans" cxnId="{1A391A8B-311A-4BD3-803C-61AA0D232339}">
      <dgm:prSet/>
      <dgm:spPr/>
      <dgm:t>
        <a:bodyPr/>
        <a:lstStyle/>
        <a:p>
          <a:endParaRPr lang="de-DE"/>
        </a:p>
      </dgm:t>
    </dgm:pt>
    <dgm:pt modelId="{6A13B10C-8AB5-453C-B245-61E4B4AA25DF}">
      <dgm:prSet phldrT="[Text]"/>
      <dgm:spPr/>
      <dgm:t>
        <a:bodyPr/>
        <a:lstStyle/>
        <a:p>
          <a:r>
            <a:rPr lang="de-DE" dirty="0"/>
            <a:t>Chatbot</a:t>
          </a:r>
        </a:p>
      </dgm:t>
    </dgm:pt>
    <dgm:pt modelId="{D42633B0-E4FB-4FBA-9BBC-13E3DDB74A7E}" type="parTrans" cxnId="{0858AF0E-957B-42B4-A3A1-677877874FCF}">
      <dgm:prSet/>
      <dgm:spPr/>
      <dgm:t>
        <a:bodyPr/>
        <a:lstStyle/>
        <a:p>
          <a:endParaRPr lang="de-DE"/>
        </a:p>
      </dgm:t>
    </dgm:pt>
    <dgm:pt modelId="{2CD6064D-C9FD-4831-A8A4-C3A39EC6DAB3}" type="sibTrans" cxnId="{0858AF0E-957B-42B4-A3A1-677877874FCF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17802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1536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2760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39194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28710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3" presId="urn:microsoft.com/office/officeart/2005/8/layout/vList2"/>
    <dgm:cxn modelId="{0858AF0E-957B-42B4-A3A1-677877874FCF}" srcId="{3FC219D5-36C6-4D29-9147-F31D579B2979}" destId="{6A13B10C-8AB5-453C-B245-61E4B4AA25DF}" srcOrd="2" destOrd="0" parTransId="{D42633B0-E4FB-4FBA-9BBC-13E3DDB74A7E}" sibTransId="{2CD6064D-C9FD-4831-A8A4-C3A39EC6DAB3}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6BBF4645-B305-4ADA-8F48-494A8AC0AF48}" type="presOf" srcId="{154BA7BF-16A1-4A3D-B2A2-79E738F8D0CC}" destId="{A03A1B87-6FD7-4E7F-A923-9D1211FF7B21}" srcOrd="0" destOrd="1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1A391A8B-311A-4BD3-803C-61AA0D232339}" srcId="{3FC219D5-36C6-4D29-9147-F31D579B2979}" destId="{154BA7BF-16A1-4A3D-B2A2-79E738F8D0CC}" srcOrd="1" destOrd="0" parTransId="{A5BA7F60-0DCC-4405-B030-281CE2440072}" sibTransId="{E38B4AE9-F51E-4ECC-BD61-8BFCD140AFC7}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E25566AF-10D5-45D0-ACEA-A27889848EB7}" type="presOf" srcId="{6A13B10C-8AB5-453C-B245-61E4B4AA25DF}" destId="{A03A1B87-6FD7-4E7F-A923-9D1211FF7B21}" srcOrd="0" destOrd="2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3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987CFB-C787-4212-A142-D0D372ADBA16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A0F1308-7CE9-4B0D-B605-59DAD9D9B472}">
      <dgm:prSet phldrT="[Text]" custT="1"/>
      <dgm:spPr/>
      <dgm:t>
        <a:bodyPr/>
        <a:lstStyle/>
        <a:p>
          <a:r>
            <a:rPr lang="de-DE" sz="2100" u="none" dirty="0"/>
            <a:t>1. Datensatz mit bekannten </a:t>
          </a:r>
          <a:r>
            <a:rPr lang="de-DE" sz="2100" u="none" dirty="0" err="1"/>
            <a:t>Biases</a:t>
          </a:r>
          <a:endParaRPr lang="de-DE" sz="2100" u="none" dirty="0"/>
        </a:p>
      </dgm:t>
    </dgm:pt>
    <dgm:pt modelId="{D0C33266-534C-4478-B794-1DF68BF4E91C}" type="parTrans" cxnId="{DBF6B06D-CE83-4FE6-AB1E-94A412D92278}">
      <dgm:prSet/>
      <dgm:spPr/>
      <dgm:t>
        <a:bodyPr/>
        <a:lstStyle/>
        <a:p>
          <a:endParaRPr lang="de-DE"/>
        </a:p>
      </dgm:t>
    </dgm:pt>
    <dgm:pt modelId="{3FF746AB-FF94-4C11-9565-124A17FC87BE}" type="sibTrans" cxnId="{DBF6B06D-CE83-4FE6-AB1E-94A412D92278}">
      <dgm:prSet/>
      <dgm:spPr/>
      <dgm:t>
        <a:bodyPr/>
        <a:lstStyle/>
        <a:p>
          <a:endParaRPr lang="de-DE"/>
        </a:p>
      </dgm:t>
    </dgm:pt>
    <dgm:pt modelId="{515943EF-2265-4029-8F3B-D84FDE1F640A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sz="1600" dirty="0"/>
            <a:t>Der Datensatz wird dem Artefakt mit dem benötigten Kontext übergeben, das Ergebnis des Artefakts wird mit dem Metawissen über den Datensatz verglichen.</a:t>
          </a:r>
          <a:br>
            <a:rPr lang="de-DE" sz="1600" dirty="0"/>
          </a:br>
          <a:r>
            <a:rPr lang="de-DE" sz="1600" dirty="0"/>
            <a:t>Bsp. Wenn ein Datensatz Frauen bei Beförderungen benachteiligen sollte, wir überprüft, ob das Artefakt das auch herausfinden kann</a:t>
          </a:r>
        </a:p>
      </dgm:t>
    </dgm:pt>
    <dgm:pt modelId="{B65B5A59-8794-4D46-B4B6-F81628D6E7CB}" type="parTrans" cxnId="{D3846676-E3F8-436D-99F7-442468769D5C}">
      <dgm:prSet/>
      <dgm:spPr/>
      <dgm:t>
        <a:bodyPr/>
        <a:lstStyle/>
        <a:p>
          <a:endParaRPr lang="de-DE"/>
        </a:p>
      </dgm:t>
    </dgm:pt>
    <dgm:pt modelId="{796F9AEA-2307-4E83-B031-843E229EF9B4}" type="sibTrans" cxnId="{D3846676-E3F8-436D-99F7-442468769D5C}">
      <dgm:prSet/>
      <dgm:spPr/>
      <dgm:t>
        <a:bodyPr/>
        <a:lstStyle/>
        <a:p>
          <a:endParaRPr lang="de-DE"/>
        </a:p>
      </dgm:t>
    </dgm:pt>
    <dgm:pt modelId="{C7DB6D70-8185-4A8D-B6C4-31A38212C308}">
      <dgm:prSet custT="1"/>
      <dgm:spPr/>
      <dgm:t>
        <a:bodyPr/>
        <a:lstStyle/>
        <a:p>
          <a:r>
            <a:rPr lang="de-DE" sz="2100" u="none" dirty="0"/>
            <a:t>2. Datensatz mit bekannten </a:t>
          </a:r>
          <a:r>
            <a:rPr lang="de-DE" sz="2100" u="none" dirty="0" err="1"/>
            <a:t>Biases</a:t>
          </a:r>
          <a:r>
            <a:rPr lang="de-DE" sz="2100" u="none" dirty="0"/>
            <a:t> und bereinigte Version des Datensatzes</a:t>
          </a:r>
        </a:p>
      </dgm:t>
    </dgm:pt>
    <dgm:pt modelId="{C81ACE72-7B0A-4A37-A17D-9B9544AC20E3}" type="parTrans" cxnId="{2BA176E2-74B4-4346-A7EB-D8495407AFA7}">
      <dgm:prSet/>
      <dgm:spPr/>
      <dgm:t>
        <a:bodyPr/>
        <a:lstStyle/>
        <a:p>
          <a:endParaRPr lang="de-DE"/>
        </a:p>
      </dgm:t>
    </dgm:pt>
    <dgm:pt modelId="{5E4D73C5-007E-47C3-BB5B-AF5C44C34551}" type="sibTrans" cxnId="{2BA176E2-74B4-4346-A7EB-D8495407AFA7}">
      <dgm:prSet/>
      <dgm:spPr/>
      <dgm:t>
        <a:bodyPr/>
        <a:lstStyle/>
        <a:p>
          <a:endParaRPr lang="de-DE"/>
        </a:p>
      </dgm:t>
    </dgm:pt>
    <dgm:pt modelId="{CA4C151A-4C6E-43C5-AB33-6ADA8C9CC8A3}">
      <dgm:prSet custT="1"/>
      <dgm:spPr/>
      <dgm:t>
        <a:bodyPr/>
        <a:lstStyle/>
        <a:p>
          <a:r>
            <a:rPr lang="de-DE" sz="1600" dirty="0"/>
            <a:t>Gleiches Prozedere wie bei der ersten Art, aber darauffolgend wird dem Artefakt noch eine bereinigte Version von dem Datensatz übergeben. Die beiden Ergebnisse werden danach verglichen.</a:t>
          </a:r>
          <a:br>
            <a:rPr lang="de-DE" sz="1600" dirty="0"/>
          </a:br>
          <a:r>
            <a:rPr lang="de-DE" sz="1600" dirty="0"/>
            <a:t>Bsp. Wenn ein Datensatz Frauen benachteiligt, der bereinigte Datensatz benachteiligt Frauen nicht mehr. Das Artefakt sollte bei beiden Datensätzen nicht das selbe Ergebnis liefern</a:t>
          </a:r>
          <a:endParaRPr lang="de-DE" sz="1600" u="sng" dirty="0"/>
        </a:p>
      </dgm:t>
    </dgm:pt>
    <dgm:pt modelId="{961109DA-A8FB-4CD4-AA12-0974740B48F0}" type="parTrans" cxnId="{89B305D6-8757-41CB-ACFB-E2EAD9A16289}">
      <dgm:prSet/>
      <dgm:spPr/>
      <dgm:t>
        <a:bodyPr/>
        <a:lstStyle/>
        <a:p>
          <a:endParaRPr lang="de-DE"/>
        </a:p>
      </dgm:t>
    </dgm:pt>
    <dgm:pt modelId="{F8FF074A-BBC9-4009-BD05-11F7C85389F5}" type="sibTrans" cxnId="{89B305D6-8757-41CB-ACFB-E2EAD9A16289}">
      <dgm:prSet/>
      <dgm:spPr/>
      <dgm:t>
        <a:bodyPr/>
        <a:lstStyle/>
        <a:p>
          <a:endParaRPr lang="de-DE"/>
        </a:p>
      </dgm:t>
    </dgm:pt>
    <dgm:pt modelId="{3B880D4F-5B2C-4A76-B221-50C8D9B9A35E}">
      <dgm:prSet custT="1"/>
      <dgm:spPr/>
      <dgm:t>
        <a:bodyPr/>
        <a:lstStyle/>
        <a:p>
          <a:r>
            <a:rPr lang="de-DE" sz="2100" u="none" dirty="0"/>
            <a:t>3. Datensatz ohne bekannten Bias</a:t>
          </a:r>
        </a:p>
      </dgm:t>
    </dgm:pt>
    <dgm:pt modelId="{1ADBA4A6-36CA-41E7-BCBB-C17D26ECB14A}" type="parTrans" cxnId="{FF993EBB-98E3-4A44-8F56-827756B77265}">
      <dgm:prSet/>
      <dgm:spPr/>
      <dgm:t>
        <a:bodyPr/>
        <a:lstStyle/>
        <a:p>
          <a:endParaRPr lang="de-DE"/>
        </a:p>
      </dgm:t>
    </dgm:pt>
    <dgm:pt modelId="{7D646712-F59E-40AC-8298-7F499A9554DC}" type="sibTrans" cxnId="{FF993EBB-98E3-4A44-8F56-827756B77265}">
      <dgm:prSet/>
      <dgm:spPr/>
      <dgm:t>
        <a:bodyPr/>
        <a:lstStyle/>
        <a:p>
          <a:endParaRPr lang="de-DE"/>
        </a:p>
      </dgm:t>
    </dgm:pt>
    <dgm:pt modelId="{5B5D6497-48FC-4D4C-9CC9-58EDE2BFFE04}">
      <dgm:prSet custT="1"/>
      <dgm:spPr/>
      <dgm:t>
        <a:bodyPr/>
        <a:lstStyle/>
        <a:p>
          <a:r>
            <a:rPr lang="de-DE" sz="1600" dirty="0"/>
            <a:t>Gleicher Ablauf wie bei der ersten Art, nur sind keine Metainformationen vorhanden. Die Ergebnisse werden dann erfasst.</a:t>
          </a:r>
        </a:p>
      </dgm:t>
    </dgm:pt>
    <dgm:pt modelId="{87540B26-7DEB-4C77-AD13-9F3530D51DD1}" type="parTrans" cxnId="{28A5B6FF-179C-46B8-9764-2DB2AF8500D4}">
      <dgm:prSet/>
      <dgm:spPr/>
      <dgm:t>
        <a:bodyPr/>
        <a:lstStyle/>
        <a:p>
          <a:endParaRPr lang="de-DE"/>
        </a:p>
      </dgm:t>
    </dgm:pt>
    <dgm:pt modelId="{F22E4507-5B55-46F2-A2DB-390E208B8B87}" type="sibTrans" cxnId="{28A5B6FF-179C-46B8-9764-2DB2AF8500D4}">
      <dgm:prSet/>
      <dgm:spPr/>
      <dgm:t>
        <a:bodyPr/>
        <a:lstStyle/>
        <a:p>
          <a:endParaRPr lang="de-DE"/>
        </a:p>
      </dgm:t>
    </dgm:pt>
    <dgm:pt modelId="{C2FA5577-DE80-4AD9-A974-E44324A5B61C}" type="pres">
      <dgm:prSet presAssocID="{95987CFB-C787-4212-A142-D0D372ADBA16}" presName="linear" presStyleCnt="0">
        <dgm:presLayoutVars>
          <dgm:animLvl val="lvl"/>
          <dgm:resizeHandles val="exact"/>
        </dgm:presLayoutVars>
      </dgm:prSet>
      <dgm:spPr/>
    </dgm:pt>
    <dgm:pt modelId="{A9B0BCAB-5CCE-4FC9-A54E-F50BCAF94814}" type="pres">
      <dgm:prSet presAssocID="{EA0F1308-7CE9-4B0D-B605-59DAD9D9B472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2C9EE75-A0BE-4BD4-B39B-CC6BA884D281}" type="pres">
      <dgm:prSet presAssocID="{EA0F1308-7CE9-4B0D-B605-59DAD9D9B472}" presName="childText" presStyleLbl="revTx" presStyleIdx="0" presStyleCnt="3" custLinFactNeighborY="5248">
        <dgm:presLayoutVars>
          <dgm:bulletEnabled val="1"/>
        </dgm:presLayoutVars>
      </dgm:prSet>
      <dgm:spPr/>
    </dgm:pt>
    <dgm:pt modelId="{59A4E54E-7941-4883-9367-F8FA043E8803}" type="pres">
      <dgm:prSet presAssocID="{C7DB6D70-8185-4A8D-B6C4-31A38212C308}" presName="parentText" presStyleLbl="node1" presStyleIdx="1" presStyleCnt="3" custLinFactNeighborY="4216">
        <dgm:presLayoutVars>
          <dgm:chMax val="0"/>
          <dgm:bulletEnabled val="1"/>
        </dgm:presLayoutVars>
      </dgm:prSet>
      <dgm:spPr/>
    </dgm:pt>
    <dgm:pt modelId="{85EABC74-0301-42D3-B6C6-B80A35738FDB}" type="pres">
      <dgm:prSet presAssocID="{C7DB6D70-8185-4A8D-B6C4-31A38212C308}" presName="childText" presStyleLbl="revTx" presStyleIdx="1" presStyleCnt="3" custLinFactNeighborY="6560">
        <dgm:presLayoutVars>
          <dgm:bulletEnabled val="1"/>
        </dgm:presLayoutVars>
      </dgm:prSet>
      <dgm:spPr/>
    </dgm:pt>
    <dgm:pt modelId="{19091E62-5FD3-42FE-B4C7-36B2500CEFBD}" type="pres">
      <dgm:prSet presAssocID="{3B880D4F-5B2C-4A76-B221-50C8D9B9A35E}" presName="parentText" presStyleLbl="node1" presStyleIdx="2" presStyleCnt="3" custLinFactNeighborY="4710">
        <dgm:presLayoutVars>
          <dgm:chMax val="0"/>
          <dgm:bulletEnabled val="1"/>
        </dgm:presLayoutVars>
      </dgm:prSet>
      <dgm:spPr/>
    </dgm:pt>
    <dgm:pt modelId="{31B992FA-1C71-4F0A-A331-B854503DAEC2}" type="pres">
      <dgm:prSet presAssocID="{3B880D4F-5B2C-4A76-B221-50C8D9B9A35E}" presName="childText" presStyleLbl="revTx" presStyleIdx="2" presStyleCnt="3" custScaleY="82495" custLinFactNeighborY="2948">
        <dgm:presLayoutVars>
          <dgm:bulletEnabled val="1"/>
        </dgm:presLayoutVars>
      </dgm:prSet>
      <dgm:spPr/>
    </dgm:pt>
  </dgm:ptLst>
  <dgm:cxnLst>
    <dgm:cxn modelId="{0E08640D-C4E8-4823-B341-AE0BEF483C5E}" type="presOf" srcId="{EA0F1308-7CE9-4B0D-B605-59DAD9D9B472}" destId="{A9B0BCAB-5CCE-4FC9-A54E-F50BCAF94814}" srcOrd="0" destOrd="0" presId="urn:microsoft.com/office/officeart/2005/8/layout/vList2"/>
    <dgm:cxn modelId="{FCCE843D-D8E5-46E2-AA8E-E65CDE476698}" type="presOf" srcId="{515943EF-2265-4029-8F3B-D84FDE1F640A}" destId="{32C9EE75-A0BE-4BD4-B39B-CC6BA884D281}" srcOrd="0" destOrd="0" presId="urn:microsoft.com/office/officeart/2005/8/layout/vList2"/>
    <dgm:cxn modelId="{DBF6B06D-CE83-4FE6-AB1E-94A412D92278}" srcId="{95987CFB-C787-4212-A142-D0D372ADBA16}" destId="{EA0F1308-7CE9-4B0D-B605-59DAD9D9B472}" srcOrd="0" destOrd="0" parTransId="{D0C33266-534C-4478-B794-1DF68BF4E91C}" sibTransId="{3FF746AB-FF94-4C11-9565-124A17FC87BE}"/>
    <dgm:cxn modelId="{9F0E4B51-37CD-48F3-911A-8DAA40DB6769}" type="presOf" srcId="{3B880D4F-5B2C-4A76-B221-50C8D9B9A35E}" destId="{19091E62-5FD3-42FE-B4C7-36B2500CEFBD}" srcOrd="0" destOrd="0" presId="urn:microsoft.com/office/officeart/2005/8/layout/vList2"/>
    <dgm:cxn modelId="{19771974-3812-4512-B29B-DDE41210E8A0}" type="presOf" srcId="{5B5D6497-48FC-4D4C-9CC9-58EDE2BFFE04}" destId="{31B992FA-1C71-4F0A-A331-B854503DAEC2}" srcOrd="0" destOrd="0" presId="urn:microsoft.com/office/officeart/2005/8/layout/vList2"/>
    <dgm:cxn modelId="{D3846676-E3F8-436D-99F7-442468769D5C}" srcId="{EA0F1308-7CE9-4B0D-B605-59DAD9D9B472}" destId="{515943EF-2265-4029-8F3B-D84FDE1F640A}" srcOrd="0" destOrd="0" parTransId="{B65B5A59-8794-4D46-B4B6-F81628D6E7CB}" sibTransId="{796F9AEA-2307-4E83-B031-843E229EF9B4}"/>
    <dgm:cxn modelId="{5482089A-E703-4BE3-BA56-AE7698B8E710}" type="presOf" srcId="{C7DB6D70-8185-4A8D-B6C4-31A38212C308}" destId="{59A4E54E-7941-4883-9367-F8FA043E8803}" srcOrd="0" destOrd="0" presId="urn:microsoft.com/office/officeart/2005/8/layout/vList2"/>
    <dgm:cxn modelId="{06ED299C-7AE2-49A3-8C68-96FAF677D0E6}" type="presOf" srcId="{95987CFB-C787-4212-A142-D0D372ADBA16}" destId="{C2FA5577-DE80-4AD9-A974-E44324A5B61C}" srcOrd="0" destOrd="0" presId="urn:microsoft.com/office/officeart/2005/8/layout/vList2"/>
    <dgm:cxn modelId="{FF993EBB-98E3-4A44-8F56-827756B77265}" srcId="{95987CFB-C787-4212-A142-D0D372ADBA16}" destId="{3B880D4F-5B2C-4A76-B221-50C8D9B9A35E}" srcOrd="2" destOrd="0" parTransId="{1ADBA4A6-36CA-41E7-BCBB-C17D26ECB14A}" sibTransId="{7D646712-F59E-40AC-8298-7F499A9554DC}"/>
    <dgm:cxn modelId="{497EF2D1-719C-4110-B576-2C04FC3BF31A}" type="presOf" srcId="{CA4C151A-4C6E-43C5-AB33-6ADA8C9CC8A3}" destId="{85EABC74-0301-42D3-B6C6-B80A35738FDB}" srcOrd="0" destOrd="0" presId="urn:microsoft.com/office/officeart/2005/8/layout/vList2"/>
    <dgm:cxn modelId="{89B305D6-8757-41CB-ACFB-E2EAD9A16289}" srcId="{C7DB6D70-8185-4A8D-B6C4-31A38212C308}" destId="{CA4C151A-4C6E-43C5-AB33-6ADA8C9CC8A3}" srcOrd="0" destOrd="0" parTransId="{961109DA-A8FB-4CD4-AA12-0974740B48F0}" sibTransId="{F8FF074A-BBC9-4009-BD05-11F7C85389F5}"/>
    <dgm:cxn modelId="{2BA176E2-74B4-4346-A7EB-D8495407AFA7}" srcId="{95987CFB-C787-4212-A142-D0D372ADBA16}" destId="{C7DB6D70-8185-4A8D-B6C4-31A38212C308}" srcOrd="1" destOrd="0" parTransId="{C81ACE72-7B0A-4A37-A17D-9B9544AC20E3}" sibTransId="{5E4D73C5-007E-47C3-BB5B-AF5C44C34551}"/>
    <dgm:cxn modelId="{28A5B6FF-179C-46B8-9764-2DB2AF8500D4}" srcId="{3B880D4F-5B2C-4A76-B221-50C8D9B9A35E}" destId="{5B5D6497-48FC-4D4C-9CC9-58EDE2BFFE04}" srcOrd="0" destOrd="0" parTransId="{87540B26-7DEB-4C77-AD13-9F3530D51DD1}" sibTransId="{F22E4507-5B55-46F2-A2DB-390E208B8B87}"/>
    <dgm:cxn modelId="{B6996EBE-D250-4486-AE60-DA448560F6C8}" type="presParOf" srcId="{C2FA5577-DE80-4AD9-A974-E44324A5B61C}" destId="{A9B0BCAB-5CCE-4FC9-A54E-F50BCAF94814}" srcOrd="0" destOrd="0" presId="urn:microsoft.com/office/officeart/2005/8/layout/vList2"/>
    <dgm:cxn modelId="{15A56C11-8702-4C6C-AA54-35AEF591DE5F}" type="presParOf" srcId="{C2FA5577-DE80-4AD9-A974-E44324A5B61C}" destId="{32C9EE75-A0BE-4BD4-B39B-CC6BA884D281}" srcOrd="1" destOrd="0" presId="urn:microsoft.com/office/officeart/2005/8/layout/vList2"/>
    <dgm:cxn modelId="{02B31080-07BB-4A8A-A200-4F49520A9C4C}" type="presParOf" srcId="{C2FA5577-DE80-4AD9-A974-E44324A5B61C}" destId="{59A4E54E-7941-4883-9367-F8FA043E8803}" srcOrd="2" destOrd="0" presId="urn:microsoft.com/office/officeart/2005/8/layout/vList2"/>
    <dgm:cxn modelId="{73A36ECB-4D79-4EEA-8F85-E30446693E86}" type="presParOf" srcId="{C2FA5577-DE80-4AD9-A974-E44324A5B61C}" destId="{85EABC74-0301-42D3-B6C6-B80A35738FDB}" srcOrd="3" destOrd="0" presId="urn:microsoft.com/office/officeart/2005/8/layout/vList2"/>
    <dgm:cxn modelId="{772C9E97-BC02-46F6-85FC-E4D9F1DD5A8F}" type="presParOf" srcId="{C2FA5577-DE80-4AD9-A974-E44324A5B61C}" destId="{19091E62-5FD3-42FE-B4C7-36B2500CEFBD}" srcOrd="4" destOrd="0" presId="urn:microsoft.com/office/officeart/2005/8/layout/vList2"/>
    <dgm:cxn modelId="{FD4CE585-6D24-47FE-B5A0-CA6AF8FE4B86}" type="presParOf" srcId="{C2FA5577-DE80-4AD9-A974-E44324A5B61C}" destId="{31B992FA-1C71-4F0A-A331-B854503DAEC2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68319"/>
          <a:ext cx="10896609" cy="4446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Datensatzart</a:t>
          </a:r>
        </a:p>
      </dsp:txBody>
      <dsp:txXfrm>
        <a:off x="21704" y="90023"/>
        <a:ext cx="10853201" cy="401192"/>
      </dsp:txXfrm>
    </dsp:sp>
    <dsp:sp modelId="{A03A1B87-6FD7-4E7F-A923-9D1211FF7B21}">
      <dsp:nvSpPr>
        <dsp:cNvPr id="0" name=""/>
        <dsp:cNvSpPr/>
      </dsp:nvSpPr>
      <dsp:spPr>
        <a:xfrm>
          <a:off x="0" y="567594"/>
          <a:ext cx="10896609" cy="983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abellarisch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NLP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Chatbo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Nicht konkret</a:t>
          </a:r>
        </a:p>
      </dsp:txBody>
      <dsp:txXfrm>
        <a:off x="0" y="567594"/>
        <a:ext cx="10896609" cy="983250"/>
      </dsp:txXfrm>
    </dsp:sp>
    <dsp:sp modelId="{62DDB0FC-6E1B-4D97-87A2-88E062C2D652}">
      <dsp:nvSpPr>
        <dsp:cNvPr id="0" name=""/>
        <dsp:cNvSpPr/>
      </dsp:nvSpPr>
      <dsp:spPr>
        <a:xfrm>
          <a:off x="0" y="1471696"/>
          <a:ext cx="10896609" cy="4446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Biasumgang</a:t>
          </a:r>
          <a:endParaRPr lang="de-DE" sz="1800" kern="1200" dirty="0"/>
        </a:p>
      </dsp:txBody>
      <dsp:txXfrm>
        <a:off x="21704" y="1493400"/>
        <a:ext cx="10853201" cy="401192"/>
      </dsp:txXfrm>
    </dsp:sp>
    <dsp:sp modelId="{1E4D186B-628A-4E01-A210-578940BA839A}">
      <dsp:nvSpPr>
        <dsp:cNvPr id="0" name=""/>
        <dsp:cNvSpPr/>
      </dsp:nvSpPr>
      <dsp:spPr>
        <a:xfrm>
          <a:off x="0" y="1916296"/>
          <a:ext cx="10896609" cy="983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Eliminier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Minder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Bestimm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Findung</a:t>
          </a:r>
        </a:p>
      </dsp:txBody>
      <dsp:txXfrm>
        <a:off x="0" y="1916296"/>
        <a:ext cx="10896609" cy="983250"/>
      </dsp:txXfrm>
    </dsp:sp>
    <dsp:sp modelId="{CB0C1EB8-E656-471F-93BB-D99A38F9A6E6}">
      <dsp:nvSpPr>
        <dsp:cNvPr id="0" name=""/>
        <dsp:cNvSpPr/>
      </dsp:nvSpPr>
      <dsp:spPr>
        <a:xfrm>
          <a:off x="0" y="2787786"/>
          <a:ext cx="10896609" cy="4446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Methoden</a:t>
          </a:r>
        </a:p>
      </dsp:txBody>
      <dsp:txXfrm>
        <a:off x="21704" y="2809490"/>
        <a:ext cx="10853201" cy="401192"/>
      </dsp:txXfrm>
    </dsp:sp>
    <dsp:sp modelId="{A39E1E06-812B-4F63-B86D-892075F7A0E6}">
      <dsp:nvSpPr>
        <dsp:cNvPr id="0" name=""/>
        <dsp:cNvSpPr/>
      </dsp:nvSpPr>
      <dsp:spPr>
        <a:xfrm>
          <a:off x="0" y="3287415"/>
          <a:ext cx="10896609" cy="7276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Berechnung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(Pseudo-)Cod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sätze</a:t>
          </a:r>
        </a:p>
      </dsp:txBody>
      <dsp:txXfrm>
        <a:off x="0" y="3287415"/>
        <a:ext cx="10896609" cy="727605"/>
      </dsp:txXfrm>
    </dsp:sp>
    <dsp:sp modelId="{17C17339-F648-4484-8B8B-DD6DE4797979}">
      <dsp:nvSpPr>
        <dsp:cNvPr id="0" name=""/>
        <dsp:cNvSpPr/>
      </dsp:nvSpPr>
      <dsp:spPr>
        <a:xfrm>
          <a:off x="0" y="3948431"/>
          <a:ext cx="10896609" cy="4446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Forschungsfrage</a:t>
          </a:r>
        </a:p>
      </dsp:txBody>
      <dsp:txXfrm>
        <a:off x="21704" y="3970135"/>
        <a:ext cx="10853201" cy="401192"/>
      </dsp:txXfrm>
    </dsp:sp>
    <dsp:sp modelId="{59718E81-0315-4E70-A8A3-5506A202C03A}">
      <dsp:nvSpPr>
        <dsp:cNvPr id="0" name=""/>
        <dsp:cNvSpPr/>
      </dsp:nvSpPr>
      <dsp:spPr>
        <a:xfrm>
          <a:off x="0" y="4388706"/>
          <a:ext cx="10896609" cy="2434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4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400" kern="1200" dirty="0"/>
        </a:p>
      </dsp:txBody>
      <dsp:txXfrm>
        <a:off x="0" y="4388706"/>
        <a:ext cx="10896609" cy="2434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B0BCAB-5CCE-4FC9-A54E-F50BCAF94814}">
      <dsp:nvSpPr>
        <dsp:cNvPr id="0" name=""/>
        <dsp:cNvSpPr/>
      </dsp:nvSpPr>
      <dsp:spPr>
        <a:xfrm>
          <a:off x="0" y="543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1. Datensatz mit bekannten </a:t>
          </a:r>
          <a:r>
            <a:rPr lang="de-DE" sz="2100" u="none" kern="1200" dirty="0" err="1"/>
            <a:t>Biases</a:t>
          </a:r>
          <a:endParaRPr lang="de-DE" sz="2100" u="none" kern="1200" dirty="0"/>
        </a:p>
      </dsp:txBody>
      <dsp:txXfrm>
        <a:off x="39295" y="39838"/>
        <a:ext cx="11079151" cy="726370"/>
      </dsp:txXfrm>
    </dsp:sp>
    <dsp:sp modelId="{32C9EE75-A0BE-4BD4-B39B-CC6BA884D281}">
      <dsp:nvSpPr>
        <dsp:cNvPr id="0" name=""/>
        <dsp:cNvSpPr/>
      </dsp:nvSpPr>
      <dsp:spPr>
        <a:xfrm>
          <a:off x="0" y="847747"/>
          <a:ext cx="11157741" cy="890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600" kern="1200" dirty="0"/>
            <a:t>Der Datensatz wird dem Artefakt mit dem benötigten Kontext übergeben, das Ergebnis des Artefakts wird mit dem Metawissen über den Datensatz verglichen.</a:t>
          </a:r>
          <a:br>
            <a:rPr lang="de-DE" sz="1600" kern="1200" dirty="0"/>
          </a:br>
          <a:r>
            <a:rPr lang="de-DE" sz="1600" kern="1200" dirty="0"/>
            <a:t>Bsp. Wenn ein Datensatz Frauen bei Beförderungen benachteiligen sollte, wir überprüft, ob das Artefakt das auch herausfinden kann</a:t>
          </a:r>
        </a:p>
      </dsp:txBody>
      <dsp:txXfrm>
        <a:off x="0" y="847747"/>
        <a:ext cx="11157741" cy="890100"/>
      </dsp:txXfrm>
    </dsp:sp>
    <dsp:sp modelId="{59A4E54E-7941-4883-9367-F8FA043E8803}">
      <dsp:nvSpPr>
        <dsp:cNvPr id="0" name=""/>
        <dsp:cNvSpPr/>
      </dsp:nvSpPr>
      <dsp:spPr>
        <a:xfrm>
          <a:off x="0" y="1733129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2. Datensatz mit bekannten </a:t>
          </a:r>
          <a:r>
            <a:rPr lang="de-DE" sz="2100" u="none" kern="1200" dirty="0" err="1"/>
            <a:t>Biases</a:t>
          </a:r>
          <a:r>
            <a:rPr lang="de-DE" sz="2100" u="none" kern="1200" dirty="0"/>
            <a:t> und bereinigte Version des Datensatzes</a:t>
          </a:r>
        </a:p>
      </dsp:txBody>
      <dsp:txXfrm>
        <a:off x="39295" y="1772424"/>
        <a:ext cx="11079151" cy="726370"/>
      </dsp:txXfrm>
    </dsp:sp>
    <dsp:sp modelId="{85EABC74-0301-42D3-B6C6-B80A35738FDB}">
      <dsp:nvSpPr>
        <dsp:cNvPr id="0" name=""/>
        <dsp:cNvSpPr/>
      </dsp:nvSpPr>
      <dsp:spPr>
        <a:xfrm>
          <a:off x="0" y="2553368"/>
          <a:ext cx="11157741" cy="890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Gleiches Prozedere wie bei der ersten Art, aber darauffolgend wird dem Artefakt noch eine bereinigte Version von dem Datensatz übergeben. Die beiden Ergebnisse werden danach verglichen.</a:t>
          </a:r>
          <a:br>
            <a:rPr lang="de-DE" sz="1600" kern="1200" dirty="0"/>
          </a:br>
          <a:r>
            <a:rPr lang="de-DE" sz="1600" kern="1200" dirty="0"/>
            <a:t>Bsp. Wenn ein Datensatz Frauen benachteiligt, der bereinigte Datensatz benachteiligt Frauen nicht mehr. Das Artefakt sollte bei beiden Datensätzen nicht das selbe Ergebnis liefern</a:t>
          </a:r>
          <a:endParaRPr lang="de-DE" sz="1600" u="sng" kern="1200" dirty="0"/>
        </a:p>
      </dsp:txBody>
      <dsp:txXfrm>
        <a:off x="0" y="2553368"/>
        <a:ext cx="11157741" cy="890100"/>
      </dsp:txXfrm>
    </dsp:sp>
    <dsp:sp modelId="{19091E62-5FD3-42FE-B4C7-36B2500CEFBD}">
      <dsp:nvSpPr>
        <dsp:cNvPr id="0" name=""/>
        <dsp:cNvSpPr/>
      </dsp:nvSpPr>
      <dsp:spPr>
        <a:xfrm>
          <a:off x="0" y="3424202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3. Datensatz ohne bekannten Bias</a:t>
          </a:r>
        </a:p>
      </dsp:txBody>
      <dsp:txXfrm>
        <a:off x="39295" y="3463497"/>
        <a:ext cx="11079151" cy="726370"/>
      </dsp:txXfrm>
    </dsp:sp>
    <dsp:sp modelId="{31B992FA-1C71-4F0A-A331-B854503DAEC2}">
      <dsp:nvSpPr>
        <dsp:cNvPr id="0" name=""/>
        <dsp:cNvSpPr/>
      </dsp:nvSpPr>
      <dsp:spPr>
        <a:xfrm>
          <a:off x="0" y="4196166"/>
          <a:ext cx="11157741" cy="587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Gleicher Ablauf wie bei der ersten Art, nur sind keine Metainformationen vorhanden. Die Ergebnisse werden dann erfasst.</a:t>
          </a:r>
        </a:p>
      </dsp:txBody>
      <dsp:txXfrm>
        <a:off x="0" y="4196166"/>
        <a:ext cx="11157741" cy="5874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9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9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6283583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39906C2-6025-E2F7-0371-BB94EECE2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905B58A-073C-F6BA-EB19-03190B59A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</a:t>
            </a:r>
            <a:r>
              <a:rPr lang="de-DE" b="1" dirty="0" err="1"/>
              <a:t>Jokiel</a:t>
            </a:r>
            <a:endParaRPr lang="de-DE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17EF73-399D-0059-4FC0-6586625F4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68230CC-D21F-BCDE-CFF2-9CB67D9ED10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3039A-069E-EF08-CCAD-FC1692DB8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9C2102-9E8E-1A85-731D-1C8BF240E8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5F4D04F3-E56C-C45C-C41F-46D6426F29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663671"/>
              </p:ext>
            </p:extLst>
          </p:nvPr>
        </p:nvGraphicFramePr>
        <p:xfrm>
          <a:off x="515937" y="1549746"/>
          <a:ext cx="11157742" cy="47835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2705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74BEF5-D342-3361-25A7-1A536EB22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10</Words>
  <Application>Microsoft Office PowerPoint</Application>
  <PresentationFormat>Breitbild</PresentationFormat>
  <Paragraphs>344</Paragraphs>
  <Slides>2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9T15:41:35Z</dcterms:modified>
</cp:coreProperties>
</file>